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omments/comment1.xml" ContentType="application/vnd.openxmlformats-officedocument.presentationml.comment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y Heidesch" initials="CH" lastIdx="1" clrIdx="0">
    <p:extLst>
      <p:ext uri="{19B8F6BF-5375-455C-9EA6-DF929625EA0E}">
        <p15:presenceInfo xmlns:p15="http://schemas.microsoft.com/office/powerpoint/2012/main" userId="42030651f151769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ABFD6"/>
    <a:srgbClr val="002C46"/>
    <a:srgbClr val="FDE6B8"/>
    <a:srgbClr val="FDDA95"/>
    <a:srgbClr val="FFFFFF"/>
    <a:srgbClr val="FBC14E"/>
    <a:srgbClr val="EBEEF2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826A1F-DA56-44F9-8322-BA6324F14586}" v="1" dt="2022-07-12T20:32:49.88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58" autoAdjust="0"/>
    <p:restoredTop sz="92835" autoAdjust="0"/>
  </p:normalViewPr>
  <p:slideViewPr>
    <p:cSldViewPr snapToGrid="0">
      <p:cViewPr varScale="1">
        <p:scale>
          <a:sx n="63" d="100"/>
          <a:sy n="63" d="100"/>
        </p:scale>
        <p:origin x="75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ry Heidesch" userId="42030651f151769f" providerId="LiveId" clId="{8C826A1F-DA56-44F9-8322-BA6324F14586}"/>
    <pc:docChg chg="custSel modSld">
      <pc:chgData name="Cary Heidesch" userId="42030651f151769f" providerId="LiveId" clId="{8C826A1F-DA56-44F9-8322-BA6324F14586}" dt="2022-07-12T20:32:49.889" v="1"/>
      <pc:docMkLst>
        <pc:docMk/>
      </pc:docMkLst>
      <pc:sldChg chg="addCm modCm">
        <pc:chgData name="Cary Heidesch" userId="42030651f151769f" providerId="LiveId" clId="{8C826A1F-DA56-44F9-8322-BA6324F14586}" dt="2022-07-12T20:32:49.889" v="1"/>
        <pc:sldMkLst>
          <pc:docMk/>
          <pc:sldMk cId="2844286603" sldId="39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paigemonetclaredotson\Library\Containers\com.apple.mail\Data\Library\Mail%20Downloads\C451C1F9-8531-4798-82E6-D618FB3AAC8C\Dotson%20Southern%20Water%20Corp%20Financial%20Case%20Study_edited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dirty="0"/>
              <a:t>Southern Water Corp Customer Segment Contribution</a:t>
            </a:r>
          </a:p>
          <a:p>
            <a:pPr>
              <a:defRPr/>
            </a:pPr>
            <a:r>
              <a:rPr lang="en-US" sz="1500" dirty="0"/>
              <a:t>(Jul 2013 - Jun 2014)</a:t>
            </a:r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7261102985620943E-2"/>
          <c:y val="0.15246400215503275"/>
          <c:w val="0.9416704219821217"/>
          <c:h val="0.6581591573878096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Revenue Analysis'!$B$57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58:$A$60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B$58:$B$60</c:f>
              <c:numCache>
                <c:formatCode>"$"#,##0.00;[Red]\-"$"#,##0.00</c:formatCode>
                <c:ptCount val="3"/>
                <c:pt idx="0">
                  <c:v>37118738.908649988</c:v>
                </c:pt>
                <c:pt idx="1">
                  <c:v>82448062.153750017</c:v>
                </c:pt>
                <c:pt idx="2">
                  <c:v>67860510.57375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15-3E4D-8A53-574A4654CFE5}"/>
            </c:ext>
          </c:extLst>
        </c:ser>
        <c:ser>
          <c:idx val="1"/>
          <c:order val="1"/>
          <c:tx>
            <c:strRef>
              <c:f>'Revenue Analysis'!$C$57</c:f>
              <c:strCache>
                <c:ptCount val="1"/>
                <c:pt idx="0">
                  <c:v>002 Public Sa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58:$A$60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C$58:$C$60</c:f>
              <c:numCache>
                <c:formatCode>"$"#,##0.00;[Red]\-"$"#,##0.00</c:formatCode>
                <c:ptCount val="3"/>
                <c:pt idx="0">
                  <c:v>18271699.227782957</c:v>
                </c:pt>
                <c:pt idx="1">
                  <c:v>70562398.047100008</c:v>
                </c:pt>
                <c:pt idx="2">
                  <c:v>58098022.0742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15-3E4D-8A53-574A4654CFE5}"/>
            </c:ext>
          </c:extLst>
        </c:ser>
        <c:ser>
          <c:idx val="2"/>
          <c:order val="2"/>
          <c:tx>
            <c:strRef>
              <c:f>'Revenue Analysis'!$D$57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Revenue Analysis'!$A$58:$A$60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D$58:$D$60</c:f>
              <c:numCache>
                <c:formatCode>"$"#,##0.00;[Red]\-"$"#,##0.00</c:formatCode>
                <c:ptCount val="3"/>
                <c:pt idx="0">
                  <c:v>15554519.161720002</c:v>
                </c:pt>
                <c:pt idx="1">
                  <c:v>49244888.96814999</c:v>
                </c:pt>
                <c:pt idx="2">
                  <c:v>37706692.72894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15-3E4D-8A53-574A4654CFE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979739264"/>
        <c:axId val="1"/>
      </c:barChart>
      <c:catAx>
        <c:axId val="19797392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Desalination Uni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250000000"/>
          <c:min val="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Reven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\$#,##0" sourceLinked="0"/>
        <c:majorTickMark val="none"/>
        <c:minorTickMark val="none"/>
        <c:tickLblPos val="nextTo"/>
        <c:crossAx val="1979739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6.8384264811534923E-2"/>
          <c:y val="0.90519032405743216"/>
          <c:w val="0.86323147037693015"/>
          <c:h val="4.79126017612897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b="1" dirty="0"/>
              <a:t>SURJEK UNIT</a:t>
            </a:r>
            <a:r>
              <a:rPr lang="en-US" sz="1500" b="1" baseline="0" dirty="0"/>
              <a:t> CHEMICAL COSTS VS. WATER PRODUCTION</a:t>
            </a:r>
            <a:endParaRPr lang="en-US" sz="1500" b="1" dirty="0"/>
          </a:p>
          <a:p>
            <a:pPr>
              <a:defRPr/>
            </a:pPr>
            <a:r>
              <a:rPr lang="en-US" sz="1500" b="1" dirty="0"/>
              <a:t>Jul 2013 - Jun 2014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B$118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104:$Q$10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7:$Q$107</c:f>
              <c:numCache>
                <c:formatCode>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3B-C14F-8DB2-71B74F5EB3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54478767"/>
        <c:axId val="1854004639"/>
      </c:barChart>
      <c:lineChart>
        <c:grouping val="standard"/>
        <c:varyColors val="0"/>
        <c:ser>
          <c:idx val="1"/>
          <c:order val="1"/>
          <c:tx>
            <c:strRef>
              <c:f>'Expenses Analysis'!$A$119</c:f>
              <c:strCache>
                <c:ptCount val="1"/>
                <c:pt idx="0">
                  <c:v>Water Productio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10:$Q$110</c:f>
              <c:numCache>
                <c:formatCode>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3B-C14F-8DB2-71B74F5EB3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2987712"/>
        <c:axId val="1212774816"/>
      </c:lineChart>
      <c:dateAx>
        <c:axId val="1854478767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4004639"/>
        <c:crosses val="autoZero"/>
        <c:auto val="1"/>
        <c:lblOffset val="100"/>
        <c:baseTimeUnit val="months"/>
      </c:dateAx>
      <c:valAx>
        <c:axId val="1854004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hemical Cost (M$)</a:t>
                </a:r>
              </a:p>
            </c:rich>
          </c:tx>
          <c:layout>
            <c:manualLayout>
              <c:xMode val="edge"/>
              <c:yMode val="edge"/>
              <c:x val="1.8970193749907976E-2"/>
              <c:y val="0.3114729161513727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4478767"/>
        <c:crosses val="autoZero"/>
        <c:crossBetween val="between"/>
        <c:dispUnits>
          <c:builtInUnit val="millions"/>
        </c:dispUnits>
      </c:valAx>
      <c:valAx>
        <c:axId val="1212774816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Water Production (Giga-Litres)</a:t>
                </a:r>
              </a:p>
            </c:rich>
          </c:tx>
          <c:layout>
            <c:manualLayout>
              <c:xMode val="edge"/>
              <c:yMode val="edge"/>
              <c:x val="0.93686979853398167"/>
              <c:y val="0.2015298046005441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2987712"/>
        <c:crosses val="max"/>
        <c:crossBetween val="between"/>
      </c:valAx>
      <c:catAx>
        <c:axId val="1212987712"/>
        <c:scaling>
          <c:orientation val="minMax"/>
        </c:scaling>
        <c:delete val="1"/>
        <c:axPos val="b"/>
        <c:majorTickMark val="none"/>
        <c:minorTickMark val="none"/>
        <c:tickLblPos val="nextTo"/>
        <c:crossAx val="121277481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b="1" i="0" baseline="0" dirty="0">
                <a:effectLst/>
              </a:rPr>
              <a:t>KOOTHA UNIT CHEMICAL COSTS VS. WATER PRODUCTION</a:t>
            </a:r>
            <a:endParaRPr lang="en-US" sz="1500" dirty="0">
              <a:effectLst/>
            </a:endParaRPr>
          </a:p>
          <a:p>
            <a:pPr>
              <a:defRPr/>
            </a:pPr>
            <a:r>
              <a:rPr lang="en-US" sz="1500" b="1" i="0" baseline="0" dirty="0">
                <a:effectLst/>
              </a:rPr>
              <a:t>Jul 2013 - Jun 2014 </a:t>
            </a:r>
            <a:endParaRPr lang="en-US" sz="15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B$118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104:$Q$10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6:$Q$106</c:f>
              <c:numCache>
                <c:formatCode>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9B-294D-8602-0FE59638B0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54478767"/>
        <c:axId val="1854004639"/>
      </c:barChart>
      <c:lineChart>
        <c:grouping val="standard"/>
        <c:varyColors val="0"/>
        <c:ser>
          <c:idx val="1"/>
          <c:order val="1"/>
          <c:tx>
            <c:strRef>
              <c:f>'Expenses Analysis'!$A$119</c:f>
              <c:strCache>
                <c:ptCount val="1"/>
                <c:pt idx="0">
                  <c:v>Water Productio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09:$Q$109</c:f>
              <c:numCache>
                <c:formatCode>0.00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E9B-294D-8602-0FE59638B0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2987712"/>
        <c:axId val="1212774816"/>
      </c:lineChart>
      <c:dateAx>
        <c:axId val="1854478767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4004639"/>
        <c:crosses val="autoZero"/>
        <c:auto val="1"/>
        <c:lblOffset val="100"/>
        <c:baseTimeUnit val="months"/>
      </c:dateAx>
      <c:valAx>
        <c:axId val="1854004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hemical Cost (M$)</a:t>
                </a:r>
              </a:p>
            </c:rich>
          </c:tx>
          <c:layout>
            <c:manualLayout>
              <c:xMode val="edge"/>
              <c:yMode val="edge"/>
              <c:x val="2.4172307823491144E-2"/>
              <c:y val="0.2827599036142007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4478767"/>
        <c:crosses val="autoZero"/>
        <c:crossBetween val="between"/>
        <c:dispUnits>
          <c:builtInUnit val="millions"/>
        </c:dispUnits>
      </c:valAx>
      <c:valAx>
        <c:axId val="1212774816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Water Production (Giga-</a:t>
                </a:r>
                <a:r>
                  <a:rPr lang="en-US" dirty="0" err="1"/>
                  <a:t>Litres</a:t>
                </a:r>
                <a:r>
                  <a:rPr lang="en-US" dirty="0"/>
                  <a:t>)</a:t>
                </a:r>
              </a:p>
            </c:rich>
          </c:tx>
          <c:layout>
            <c:manualLayout>
              <c:xMode val="edge"/>
              <c:yMode val="edge"/>
              <c:x val="0.92678207960264536"/>
              <c:y val="0.147275714325719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2987712"/>
        <c:crosses val="max"/>
        <c:crossBetween val="between"/>
      </c:valAx>
      <c:catAx>
        <c:axId val="1212987712"/>
        <c:scaling>
          <c:orientation val="minMax"/>
        </c:scaling>
        <c:delete val="1"/>
        <c:axPos val="b"/>
        <c:majorTickMark val="none"/>
        <c:minorTickMark val="none"/>
        <c:tickLblPos val="nextTo"/>
        <c:crossAx val="121277481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b="1" i="0" baseline="0" dirty="0">
                <a:effectLst/>
              </a:rPr>
              <a:t>JUTIK UNIT CHEMICAL COSTS VS. WATER PRODUCTION</a:t>
            </a:r>
            <a:endParaRPr lang="en-US" sz="1500" dirty="0">
              <a:effectLst/>
            </a:endParaRPr>
          </a:p>
          <a:p>
            <a:pPr>
              <a:defRPr/>
            </a:pPr>
            <a:r>
              <a:rPr lang="en-US" sz="1500" b="1" i="0" baseline="0" dirty="0">
                <a:effectLst/>
              </a:rPr>
              <a:t>Jul 2013 - Jun 2014 </a:t>
            </a:r>
            <a:endParaRPr lang="en-US" sz="15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xpenses Analysis'!$B$118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xpenses Analysis'!$F$104:$Q$10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8:$Q$108</c:f>
              <c:numCache>
                <c:formatCode>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B-F744-9269-4A4887EF31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54478767"/>
        <c:axId val="1854004639"/>
      </c:barChart>
      <c:lineChart>
        <c:grouping val="standard"/>
        <c:varyColors val="0"/>
        <c:ser>
          <c:idx val="1"/>
          <c:order val="1"/>
          <c:tx>
            <c:strRef>
              <c:f>'Expenses Analysis'!$A$119</c:f>
              <c:strCache>
                <c:ptCount val="1"/>
                <c:pt idx="0">
                  <c:v>Water Productio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Expenses Analysis'!$F$111:$Q$111</c:f>
              <c:numCache>
                <c:formatCode>0.00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5B-F744-9269-4A4887EF31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2987712"/>
        <c:axId val="1212774816"/>
      </c:lineChart>
      <c:dateAx>
        <c:axId val="1854478767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4004639"/>
        <c:crosses val="autoZero"/>
        <c:auto val="1"/>
        <c:lblOffset val="100"/>
        <c:baseTimeUnit val="months"/>
      </c:dateAx>
      <c:valAx>
        <c:axId val="1854004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hemical Cost (M$)</a:t>
                </a:r>
              </a:p>
            </c:rich>
          </c:tx>
          <c:layout>
            <c:manualLayout>
              <c:xMode val="edge"/>
              <c:yMode val="edge"/>
              <c:x val="3.2258064516129031E-2"/>
              <c:y val="0.2865885690271065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4478767"/>
        <c:crosses val="autoZero"/>
        <c:crossBetween val="between"/>
        <c:dispUnits>
          <c:builtInUnit val="millions"/>
        </c:dispUnits>
      </c:valAx>
      <c:valAx>
        <c:axId val="1212774816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Water Production (Giga-Litres)</a:t>
                </a:r>
              </a:p>
            </c:rich>
          </c:tx>
          <c:layout>
            <c:manualLayout>
              <c:xMode val="edge"/>
              <c:yMode val="edge"/>
              <c:x val="0.9437700233969718"/>
              <c:y val="0.1687628870359680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12987712"/>
        <c:crosses val="max"/>
        <c:crossBetween val="between"/>
      </c:valAx>
      <c:catAx>
        <c:axId val="1212987712"/>
        <c:scaling>
          <c:orientation val="minMax"/>
        </c:scaling>
        <c:delete val="1"/>
        <c:axPos val="b"/>
        <c:majorTickMark val="none"/>
        <c:minorTickMark val="none"/>
        <c:tickLblPos val="nextTo"/>
        <c:crossAx val="121277481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dirty="0"/>
              <a:t>Sothern Water Corp Unit EBIT From</a:t>
            </a:r>
            <a:r>
              <a:rPr lang="en-US" sz="1500" baseline="0" dirty="0"/>
              <a:t> </a:t>
            </a:r>
            <a:r>
              <a:rPr lang="en-US" sz="1500" baseline="0" dirty="0" err="1"/>
              <a:t>JuL</a:t>
            </a:r>
            <a:r>
              <a:rPr lang="en-US" sz="1500" baseline="0" dirty="0"/>
              <a:t> 13 – Jun 14</a:t>
            </a:r>
            <a:endParaRPr lang="en-US" sz="15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BIT Analysis'!$A$56</c:f>
              <c:strCache>
                <c:ptCount val="1"/>
                <c:pt idx="0">
                  <c:v>Kootha</c:v>
                </c:pt>
              </c:strCache>
            </c:strRef>
          </c:tx>
          <c:spPr>
            <a:ln w="38100" cap="flat" cmpd="sng" algn="ctr">
              <a:solidFill>
                <a:schemeClr val="accent1"/>
              </a:solidFill>
              <a:miter lim="800000"/>
            </a:ln>
            <a:effectLst/>
          </c:spPr>
          <c:marker>
            <c:symbol val="circle"/>
            <c:size val="7"/>
            <c:spPr>
              <a:solidFill>
                <a:schemeClr val="accent1">
                  <a:lumMod val="60000"/>
                  <a:lumOff val="40000"/>
                </a:schemeClr>
              </a:solidFill>
              <a:ln w="9525" cap="flat" cmpd="sng" algn="ctr">
                <a:noFill/>
                <a:round/>
              </a:ln>
              <a:effectLst/>
            </c:spPr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3:$P$23</c:f>
              <c:numCache>
                <c:formatCode>"$"#,##0.00;[Red]\-"$"#,##0.00</c:formatCode>
                <c:ptCount val="12"/>
                <c:pt idx="0">
                  <c:v>2456292.3275362095</c:v>
                </c:pt>
                <c:pt idx="1">
                  <c:v>918310.88787430618</c:v>
                </c:pt>
                <c:pt idx="2">
                  <c:v>1519674.7670411356</c:v>
                </c:pt>
                <c:pt idx="3">
                  <c:v>1671126.6978958244</c:v>
                </c:pt>
                <c:pt idx="4">
                  <c:v>1867603.7439484252</c:v>
                </c:pt>
                <c:pt idx="5">
                  <c:v>1873668.8420387572</c:v>
                </c:pt>
                <c:pt idx="6">
                  <c:v>2572779.3705296321</c:v>
                </c:pt>
                <c:pt idx="7">
                  <c:v>2504531.9499788238</c:v>
                </c:pt>
                <c:pt idx="8">
                  <c:v>2888063.9198026378</c:v>
                </c:pt>
                <c:pt idx="9">
                  <c:v>912936.10019635595</c:v>
                </c:pt>
                <c:pt idx="10">
                  <c:v>702117.95209483802</c:v>
                </c:pt>
                <c:pt idx="11">
                  <c:v>-165973.35311146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2E-1E43-867A-C3B1F0920415}"/>
            </c:ext>
          </c:extLst>
        </c:ser>
        <c:ser>
          <c:idx val="1"/>
          <c:order val="1"/>
          <c:tx>
            <c:strRef>
              <c:f>'EBIT Analysis'!$A$57</c:f>
              <c:strCache>
                <c:ptCount val="1"/>
                <c:pt idx="0">
                  <c:v>Surjek</c:v>
                </c:pt>
              </c:strCache>
            </c:strRef>
          </c:tx>
          <c:spPr>
            <a:ln w="38100" cap="flat" cmpd="sng" algn="ctr">
              <a:solidFill>
                <a:schemeClr val="accent2"/>
              </a:solidFill>
              <a:miter lim="800000"/>
            </a:ln>
            <a:effectLst/>
          </c:spPr>
          <c:marker>
            <c:symbol val="circle"/>
            <c:size val="7"/>
            <c:spPr>
              <a:solidFill>
                <a:schemeClr val="accent2">
                  <a:lumMod val="60000"/>
                  <a:lumOff val="40000"/>
                </a:schemeClr>
              </a:solidFill>
              <a:ln w="9525" cap="flat" cmpd="sng" algn="ctr">
                <a:noFill/>
                <a:round/>
              </a:ln>
              <a:effectLst/>
            </c:spPr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4:$P$24</c:f>
              <c:numCache>
                <c:formatCode>"$"#,##0.00;[Red]\-"$"#,##0.00</c:formatCode>
                <c:ptCount val="12"/>
                <c:pt idx="0">
                  <c:v>5988499.8026137892</c:v>
                </c:pt>
                <c:pt idx="1">
                  <c:v>943434.10160639696</c:v>
                </c:pt>
                <c:pt idx="2">
                  <c:v>2328952.4387191646</c:v>
                </c:pt>
                <c:pt idx="3">
                  <c:v>-3360291.110331079</c:v>
                </c:pt>
                <c:pt idx="4">
                  <c:v>-6192464.2872408964</c:v>
                </c:pt>
                <c:pt idx="5">
                  <c:v>2604016.9804607946</c:v>
                </c:pt>
                <c:pt idx="6">
                  <c:v>8366591.2969236001</c:v>
                </c:pt>
                <c:pt idx="7">
                  <c:v>2112457.573284395</c:v>
                </c:pt>
                <c:pt idx="8">
                  <c:v>4631100.2007863969</c:v>
                </c:pt>
                <c:pt idx="9">
                  <c:v>2132931.991960397</c:v>
                </c:pt>
                <c:pt idx="10">
                  <c:v>-4294074.8102160059</c:v>
                </c:pt>
                <c:pt idx="11">
                  <c:v>7675095.9504671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2E-1E43-867A-C3B1F0920415}"/>
            </c:ext>
          </c:extLst>
        </c:ser>
        <c:ser>
          <c:idx val="2"/>
          <c:order val="2"/>
          <c:tx>
            <c:strRef>
              <c:f>'EBIT Analysis'!$A$58</c:f>
              <c:strCache>
                <c:ptCount val="1"/>
                <c:pt idx="0">
                  <c:v>Jutik</c:v>
                </c:pt>
              </c:strCache>
            </c:strRef>
          </c:tx>
          <c:spPr>
            <a:ln w="38100" cap="flat" cmpd="sng" algn="ctr">
              <a:solidFill>
                <a:schemeClr val="accent3"/>
              </a:solidFill>
              <a:miter lim="800000"/>
            </a:ln>
            <a:effectLst/>
          </c:spPr>
          <c:marker>
            <c:symbol val="circle"/>
            <c:size val="7"/>
            <c:spPr>
              <a:solidFill>
                <a:schemeClr val="accent2"/>
              </a:solidFill>
              <a:ln w="25400" cap="flat" cmpd="sng" algn="ctr">
                <a:noFill/>
                <a:round/>
              </a:ln>
              <a:effectLst/>
            </c:spPr>
          </c:marker>
          <c:cat>
            <c:numRef>
              <c:f>'EBIT Analysis'!$E$54:$P$54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BIT Analysis'!$E$25:$P$25</c:f>
              <c:numCache>
                <c:formatCode>"$"#,##0.00;[Red]\-"$"#,##0.00</c:formatCode>
                <c:ptCount val="12"/>
                <c:pt idx="0">
                  <c:v>4547848.2127075791</c:v>
                </c:pt>
                <c:pt idx="1">
                  <c:v>6542227.6080423184</c:v>
                </c:pt>
                <c:pt idx="2">
                  <c:v>4438176.8988530822</c:v>
                </c:pt>
                <c:pt idx="3">
                  <c:v>4415960.6020003622</c:v>
                </c:pt>
                <c:pt idx="4">
                  <c:v>5589126.5717249103</c:v>
                </c:pt>
                <c:pt idx="5">
                  <c:v>5264580.3424524991</c:v>
                </c:pt>
                <c:pt idx="6">
                  <c:v>8292411.5891714972</c:v>
                </c:pt>
                <c:pt idx="7">
                  <c:v>8295134.2778322492</c:v>
                </c:pt>
                <c:pt idx="8">
                  <c:v>5460903.0204648729</c:v>
                </c:pt>
                <c:pt idx="9">
                  <c:v>8279084.1609189995</c:v>
                </c:pt>
                <c:pt idx="10">
                  <c:v>6175874.2250345014</c:v>
                </c:pt>
                <c:pt idx="11">
                  <c:v>5640408.58799149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2E-1E43-867A-C3B1F09204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18482767"/>
        <c:axId val="1819225567"/>
      </c:lineChart>
      <c:dateAx>
        <c:axId val="1818482767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9225567"/>
        <c:crosses val="autoZero"/>
        <c:auto val="1"/>
        <c:lblOffset val="100"/>
        <c:baseTimeUnit val="months"/>
      </c:dateAx>
      <c:valAx>
        <c:axId val="181922556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32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EBIT (M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;[Red]\-&quot;$&quot;#,##0.00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8482767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r>
              <a:rPr lang="en-US" sz="1500" b="1" i="0" cap="all" baseline="0" dirty="0">
                <a:solidFill>
                  <a:schemeClr val="accent6"/>
                </a:solidFill>
                <a:effectLst/>
              </a:rPr>
              <a:t>Sothern Water Corp Total Marginal EBIT For Each Unit</a:t>
            </a:r>
            <a:endParaRPr lang="en-US" sz="1500" dirty="0">
              <a:solidFill>
                <a:schemeClr val="accent6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BIT Analysis'!$A$56:$A$5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56:$Q$58</c:f>
              <c:numCache>
                <c:formatCode>0.00%</c:formatCode>
                <c:ptCount val="3"/>
                <c:pt idx="0">
                  <c:v>0.27797794172946688</c:v>
                </c:pt>
                <c:pt idx="1">
                  <c:v>0.11340244014940318</c:v>
                </c:pt>
                <c:pt idx="2">
                  <c:v>0.44567644671722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D-5245-83D6-9607D188A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52912959"/>
        <c:axId val="1426756560"/>
      </c:barChart>
      <c:catAx>
        <c:axId val="2052912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6756560"/>
        <c:crosses val="autoZero"/>
        <c:auto val="1"/>
        <c:lblAlgn val="ctr"/>
        <c:lblOffset val="100"/>
        <c:noMultiLvlLbl val="0"/>
      </c:catAx>
      <c:valAx>
        <c:axId val="1426756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EBIT Margin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2912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/>
              <a:t>Kootha Profit Centre Analysis</a:t>
            </a:r>
          </a:p>
          <a:p>
            <a:pPr>
              <a:defRPr sz="1200"/>
            </a:pPr>
            <a:r>
              <a:rPr lang="en-US" sz="1200"/>
              <a:t>Jul 2013 - Jun 201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9915051262949016"/>
          <c:y val="0.10867227583853806"/>
          <c:w val="0.78042156347098157"/>
          <c:h val="0.57456014556014345"/>
        </c:manualLayout>
      </c:layout>
      <c:lineChart>
        <c:grouping val="standard"/>
        <c:varyColors val="0"/>
        <c:ser>
          <c:idx val="0"/>
          <c:order val="0"/>
          <c:tx>
            <c:strRef>
              <c:f>'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4:$P$34</c:f>
              <c:numCache>
                <c:formatCode>"$"#,##0.00;[Red]\-"$"#,##0.00</c:formatCode>
                <c:ptCount val="12"/>
                <c:pt idx="0">
                  <c:v>3094536.9986999999</c:v>
                </c:pt>
                <c:pt idx="1">
                  <c:v>2980521.8105250001</c:v>
                </c:pt>
                <c:pt idx="2">
                  <c:v>2752413.7409999999</c:v>
                </c:pt>
                <c:pt idx="3">
                  <c:v>2732151.9371999996</c:v>
                </c:pt>
                <c:pt idx="4">
                  <c:v>2885028.0122999996</c:v>
                </c:pt>
                <c:pt idx="5">
                  <c:v>2815308.3782250006</c:v>
                </c:pt>
                <c:pt idx="6">
                  <c:v>4092821.3597249994</c:v>
                </c:pt>
                <c:pt idx="7">
                  <c:v>3622839.5636999998</c:v>
                </c:pt>
                <c:pt idx="8">
                  <c:v>3818238.1009499999</c:v>
                </c:pt>
                <c:pt idx="9">
                  <c:v>2789853.534825</c:v>
                </c:pt>
                <c:pt idx="10">
                  <c:v>2822646.2911499999</c:v>
                </c:pt>
                <c:pt idx="11">
                  <c:v>2712379.18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873-ED47-9986-36DF42605510}"/>
            </c:ext>
          </c:extLst>
        </c:ser>
        <c:ser>
          <c:idx val="1"/>
          <c:order val="1"/>
          <c:tx>
            <c:strRef>
              <c:f>'Revenue Analysis'!$C$35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5:$P$35</c:f>
              <c:numCache>
                <c:formatCode>"$"#,##0.00;[Red]\-"$"#,##0.00</c:formatCode>
                <c:ptCount val="12"/>
                <c:pt idx="0">
                  <c:v>1523285.8376100748</c:v>
                </c:pt>
                <c:pt idx="1">
                  <c:v>1467161.8612309312</c:v>
                </c:pt>
                <c:pt idx="2">
                  <c:v>1354875.66400725</c:v>
                </c:pt>
                <c:pt idx="3">
                  <c:v>1344901.7910867</c:v>
                </c:pt>
                <c:pt idx="4">
                  <c:v>1420155.039054675</c:v>
                </c:pt>
                <c:pt idx="5">
                  <c:v>1385835.5491812564</c:v>
                </c:pt>
                <c:pt idx="6">
                  <c:v>2014691.3143246307</c:v>
                </c:pt>
                <c:pt idx="7">
                  <c:v>1783342.7752313251</c:v>
                </c:pt>
                <c:pt idx="8">
                  <c:v>1879527.7051926372</c:v>
                </c:pt>
                <c:pt idx="9">
                  <c:v>1373305.4025176065</c:v>
                </c:pt>
                <c:pt idx="10">
                  <c:v>1389447.6368185873</c:v>
                </c:pt>
                <c:pt idx="11">
                  <c:v>1335168.65152728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873-ED47-9986-36DF42605510}"/>
            </c:ext>
          </c:extLst>
        </c:ser>
        <c:ser>
          <c:idx val="2"/>
          <c:order val="2"/>
          <c:tx>
            <c:strRef>
              <c:f>'Revenue Analysis'!$C$36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6:$P$36</c:f>
              <c:numCache>
                <c:formatCode>"$"#,##0.00;[Red]\-"$"#,##0.00</c:formatCode>
                <c:ptCount val="12"/>
                <c:pt idx="0">
                  <c:v>1296758.36136</c:v>
                </c:pt>
                <c:pt idx="1">
                  <c:v>1248980.56822</c:v>
                </c:pt>
                <c:pt idx="2">
                  <c:v>1153392.4247999999</c:v>
                </c:pt>
                <c:pt idx="3">
                  <c:v>1144901.76416</c:v>
                </c:pt>
                <c:pt idx="4">
                  <c:v>1208964.11944</c:v>
                </c:pt>
                <c:pt idx="5">
                  <c:v>1179748.2727800002</c:v>
                </c:pt>
                <c:pt idx="6">
                  <c:v>1715087.0459799999</c:v>
                </c:pt>
                <c:pt idx="7">
                  <c:v>1518142.2933600002</c:v>
                </c:pt>
                <c:pt idx="8">
                  <c:v>1600023.58516</c:v>
                </c:pt>
                <c:pt idx="9">
                  <c:v>1169081.4812600003</c:v>
                </c:pt>
                <c:pt idx="10">
                  <c:v>1182823.2077200001</c:v>
                </c:pt>
                <c:pt idx="11">
                  <c:v>1136616.03748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873-ED47-9986-36DF426055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9562064"/>
        <c:axId val="679563712"/>
      </c:lineChart>
      <c:dateAx>
        <c:axId val="67956206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9563712"/>
        <c:crosses val="autoZero"/>
        <c:auto val="1"/>
        <c:lblOffset val="100"/>
        <c:baseTimeUnit val="months"/>
      </c:dateAx>
      <c:valAx>
        <c:axId val="67956371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dirty="0"/>
                  <a:t>Revenue ($M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9562064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8519291887128508"/>
          <c:y val="0.86117565792893602"/>
          <c:w val="0.64240254795137186"/>
          <c:h val="0.114353605552825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 err="1"/>
              <a:t>Surjek</a:t>
            </a:r>
            <a:r>
              <a:rPr lang="en-US" sz="1200" dirty="0"/>
              <a:t> Profit Centre Analysis</a:t>
            </a:r>
          </a:p>
          <a:p>
            <a:pPr>
              <a:defRPr/>
            </a:pPr>
            <a:r>
              <a:rPr lang="en-US" sz="1200" dirty="0"/>
              <a:t>Jul 2013 - Jun 201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774384222910044"/>
          <c:y val="0.12437599814859795"/>
          <c:w val="0.81562967722044522"/>
          <c:h val="0.55309189361778854"/>
        </c:manualLayout>
      </c:layout>
      <c:lineChart>
        <c:grouping val="standard"/>
        <c:varyColors val="0"/>
        <c:ser>
          <c:idx val="0"/>
          <c:order val="0"/>
          <c:tx>
            <c:strRef>
              <c:f>'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7:$P$37</c:f>
              <c:numCache>
                <c:formatCode>"$"#,##0.00;[Red]\-"$"#,##0.00</c:formatCode>
                <c:ptCount val="12"/>
                <c:pt idx="0">
                  <c:v>7220021.2387499996</c:v>
                </c:pt>
                <c:pt idx="1">
                  <c:v>6085131.0149999997</c:v>
                </c:pt>
                <c:pt idx="2">
                  <c:v>6723291.7162500005</c:v>
                </c:pt>
                <c:pt idx="3">
                  <c:v>6313180.5299999993</c:v>
                </c:pt>
                <c:pt idx="4">
                  <c:v>5763708.6674999995</c:v>
                </c:pt>
                <c:pt idx="5">
                  <c:v>6484566.5099999998</c:v>
                </c:pt>
                <c:pt idx="6">
                  <c:v>9314190.6750000007</c:v>
                </c:pt>
                <c:pt idx="7">
                  <c:v>6750396.1374999993</c:v>
                </c:pt>
                <c:pt idx="8">
                  <c:v>8185283.6587499995</c:v>
                </c:pt>
                <c:pt idx="9">
                  <c:v>6778514.602500001</c:v>
                </c:pt>
                <c:pt idx="10">
                  <c:v>6094707.7050000001</c:v>
                </c:pt>
                <c:pt idx="11">
                  <c:v>6735069.6974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CD2-774F-9D7E-B0611460B7D5}"/>
            </c:ext>
          </c:extLst>
        </c:ser>
        <c:ser>
          <c:idx val="1"/>
          <c:order val="1"/>
          <c:tx>
            <c:strRef>
              <c:f>'Revenue Analysis'!$C$35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8:$P$38</c:f>
              <c:numCache>
                <c:formatCode>"$"#,##0.00;[Red]\-"$"#,##0.00</c:formatCode>
                <c:ptCount val="12"/>
                <c:pt idx="0">
                  <c:v>5968550.8906999994</c:v>
                </c:pt>
                <c:pt idx="1">
                  <c:v>5030374.9724000003</c:v>
                </c:pt>
                <c:pt idx="2">
                  <c:v>5557921.1521000005</c:v>
                </c:pt>
                <c:pt idx="3">
                  <c:v>5218895.9047999997</c:v>
                </c:pt>
                <c:pt idx="4">
                  <c:v>4764665.8318000007</c:v>
                </c:pt>
                <c:pt idx="5">
                  <c:v>5360574.9815999996</c:v>
                </c:pt>
                <c:pt idx="6">
                  <c:v>7699730.9580000006</c:v>
                </c:pt>
                <c:pt idx="7">
                  <c:v>6985660.807</c:v>
                </c:pt>
                <c:pt idx="8">
                  <c:v>6766501.1579</c:v>
                </c:pt>
                <c:pt idx="9">
                  <c:v>6603572.0713999998</c:v>
                </c:pt>
                <c:pt idx="10">
                  <c:v>5038291.7028000001</c:v>
                </c:pt>
                <c:pt idx="11">
                  <c:v>5567657.6166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CD2-774F-9D7E-B0611460B7D5}"/>
            </c:ext>
          </c:extLst>
        </c:ser>
        <c:ser>
          <c:idx val="2"/>
          <c:order val="2"/>
          <c:tx>
            <c:strRef>
              <c:f>'Revenue Analysis'!$C$36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39:$P$39</c:f>
              <c:numCache>
                <c:formatCode>"$"#,##0.00;[Red]\-"$"#,##0.00</c:formatCode>
                <c:ptCount val="12"/>
                <c:pt idx="0">
                  <c:v>4139478.8435499985</c:v>
                </c:pt>
                <c:pt idx="1">
                  <c:v>3488808.4485999988</c:v>
                </c:pt>
                <c:pt idx="2">
                  <c:v>3854687.2506499989</c:v>
                </c:pt>
                <c:pt idx="3">
                  <c:v>3619556.8371999986</c:v>
                </c:pt>
                <c:pt idx="4">
                  <c:v>3304526.302699999</c:v>
                </c:pt>
                <c:pt idx="5">
                  <c:v>3717818.1323999991</c:v>
                </c:pt>
                <c:pt idx="6">
                  <c:v>5340135.9869999988</c:v>
                </c:pt>
                <c:pt idx="7">
                  <c:v>4844893.7854999984</c:v>
                </c:pt>
                <c:pt idx="8">
                  <c:v>4692895.9643499991</c:v>
                </c:pt>
                <c:pt idx="9">
                  <c:v>4886348.3721000003</c:v>
                </c:pt>
                <c:pt idx="10">
                  <c:v>3494299.084199999</c:v>
                </c:pt>
                <c:pt idx="11">
                  <c:v>3861439.95989999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CD2-774F-9D7E-B0611460B7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9562064"/>
        <c:axId val="679563712"/>
      </c:lineChart>
      <c:dateAx>
        <c:axId val="67956206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9563712"/>
        <c:crosses val="autoZero"/>
        <c:auto val="1"/>
        <c:lblOffset val="100"/>
        <c:baseTimeUnit val="months"/>
      </c:dateAx>
      <c:valAx>
        <c:axId val="67956371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dirty="0"/>
                  <a:t>Revenue (M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9562064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2577948628341779"/>
          <c:y val="0.86467158795023047"/>
          <c:w val="0.7281362921544644"/>
          <c:h val="0.11435379205030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 err="1"/>
              <a:t>Jutik</a:t>
            </a:r>
            <a:r>
              <a:rPr lang="en-US" sz="1200" dirty="0"/>
              <a:t> Profit Centre Analysis</a:t>
            </a:r>
          </a:p>
          <a:p>
            <a:pPr>
              <a:defRPr/>
            </a:pPr>
            <a:r>
              <a:rPr lang="en-US" sz="1200" dirty="0"/>
              <a:t>Jul 2013 - Jun 201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9557118779270238"/>
          <c:y val="0.12372508523717143"/>
          <c:w val="0.75949417168442179"/>
          <c:h val="0.56135161608496864"/>
        </c:manualLayout>
      </c:layout>
      <c:lineChart>
        <c:grouping val="standard"/>
        <c:varyColors val="0"/>
        <c:ser>
          <c:idx val="0"/>
          <c:order val="0"/>
          <c:tx>
            <c:strRef>
              <c:f>'Revenue Analysis'!$C$34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0:$P$40</c:f>
              <c:numCache>
                <c:formatCode>"$"#,##0.00;[Red]\-"$"#,##0.00</c:formatCode>
                <c:ptCount val="12"/>
                <c:pt idx="0">
                  <c:v>5298686.1637500003</c:v>
                </c:pt>
                <c:pt idx="1">
                  <c:v>5854268.2837499995</c:v>
                </c:pt>
                <c:pt idx="2">
                  <c:v>5098113.7162500005</c:v>
                </c:pt>
                <c:pt idx="3">
                  <c:v>4506567.6112500001</c:v>
                </c:pt>
                <c:pt idx="4">
                  <c:v>4950718.5187500007</c:v>
                </c:pt>
                <c:pt idx="5">
                  <c:v>4219638.2549999999</c:v>
                </c:pt>
                <c:pt idx="6">
                  <c:v>6454620.584999999</c:v>
                </c:pt>
                <c:pt idx="7">
                  <c:v>6573684.678749999</c:v>
                </c:pt>
                <c:pt idx="8">
                  <c:v>5896579.8487499999</c:v>
                </c:pt>
                <c:pt idx="9">
                  <c:v>6254734.0800000001</c:v>
                </c:pt>
                <c:pt idx="10">
                  <c:v>6161098.0612500003</c:v>
                </c:pt>
                <c:pt idx="11">
                  <c:v>6591800.77125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238-774D-99F3-03C7B0A39143}"/>
            </c:ext>
          </c:extLst>
        </c:ser>
        <c:ser>
          <c:idx val="1"/>
          <c:order val="1"/>
          <c:tx>
            <c:strRef>
              <c:f>'Revenue Analysis'!$C$35</c:f>
              <c:strCache>
                <c:ptCount val="1"/>
                <c:pt idx="0">
                  <c:v>002 Public Sales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1:$P$41</c:f>
              <c:numCache>
                <c:formatCode>"$"#,##0.00;[Red]\-"$"#,##0.00</c:formatCode>
                <c:ptCount val="12"/>
                <c:pt idx="0">
                  <c:v>4380247.2286999999</c:v>
                </c:pt>
                <c:pt idx="1">
                  <c:v>3839528.4479</c:v>
                </c:pt>
                <c:pt idx="2">
                  <c:v>5214440.6721000001</c:v>
                </c:pt>
                <c:pt idx="3">
                  <c:v>4725429.2253</c:v>
                </c:pt>
                <c:pt idx="4">
                  <c:v>4092593.9755000006</c:v>
                </c:pt>
                <c:pt idx="5">
                  <c:v>4488234.2907999996</c:v>
                </c:pt>
                <c:pt idx="6">
                  <c:v>5335819.6836000001</c:v>
                </c:pt>
                <c:pt idx="7">
                  <c:v>5434246.0011</c:v>
                </c:pt>
                <c:pt idx="8">
                  <c:v>4874506.0082999999</c:v>
                </c:pt>
                <c:pt idx="9">
                  <c:v>5170580.1728000008</c:v>
                </c:pt>
                <c:pt idx="10">
                  <c:v>5093174.3973000003</c:v>
                </c:pt>
                <c:pt idx="11">
                  <c:v>5449221.9709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38-774D-99F3-03C7B0A39143}"/>
            </c:ext>
          </c:extLst>
        </c:ser>
        <c:ser>
          <c:idx val="2"/>
          <c:order val="2"/>
          <c:tx>
            <c:strRef>
              <c:f>'Revenue Analysis'!$C$36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cat>
            <c:numRef>
              <c:f>'Revenue Analysis'!$E$32:$P$32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Revenue Analysis'!$E$42:$P$42</c:f>
              <c:numCache>
                <c:formatCode>"$"#,##0.00;[Red]\-"$"#,##0.00</c:formatCode>
                <c:ptCount val="12"/>
                <c:pt idx="0">
                  <c:v>3037913.400549999</c:v>
                </c:pt>
                <c:pt idx="1">
                  <c:v>3356447.1493499991</c:v>
                </c:pt>
                <c:pt idx="2">
                  <c:v>2922918.5306499992</c:v>
                </c:pt>
                <c:pt idx="3">
                  <c:v>2583765.4304499994</c:v>
                </c:pt>
                <c:pt idx="4">
                  <c:v>2838411.9507499994</c:v>
                </c:pt>
                <c:pt idx="5">
                  <c:v>2419259.2661999995</c:v>
                </c:pt>
                <c:pt idx="6">
                  <c:v>3700649.1353999986</c:v>
                </c:pt>
                <c:pt idx="7">
                  <c:v>3768912.5491499985</c:v>
                </c:pt>
                <c:pt idx="8">
                  <c:v>3380705.7799499989</c:v>
                </c:pt>
                <c:pt idx="9">
                  <c:v>3586047.5391999991</c:v>
                </c:pt>
                <c:pt idx="10">
                  <c:v>3032362.88845</c:v>
                </c:pt>
                <c:pt idx="11">
                  <c:v>3079299.10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238-774D-99F3-03C7B0A391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9562064"/>
        <c:axId val="679563712"/>
      </c:lineChart>
      <c:dateAx>
        <c:axId val="67956206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9563712"/>
        <c:crosses val="autoZero"/>
        <c:auto val="1"/>
        <c:lblOffset val="100"/>
        <c:baseTimeUnit val="months"/>
      </c:dateAx>
      <c:valAx>
        <c:axId val="67956371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dirty="0"/>
                  <a:t>Revenue (M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9562064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6491013071895422"/>
          <c:y val="0.86509932391290845"/>
          <c:w val="0.67017973856209145"/>
          <c:h val="0.114941362618115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5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dirty="0"/>
              <a:t>Southern Water Corp Aggregate Cost </a:t>
            </a:r>
            <a:r>
              <a:rPr lang="en-US" sz="1500" dirty="0" err="1"/>
              <a:t>Centres</a:t>
            </a:r>
            <a:r>
              <a:rPr lang="en-US" sz="1500" dirty="0"/>
              <a:t> </a:t>
            </a:r>
          </a:p>
          <a:p>
            <a:pPr>
              <a:defRPr sz="1500"/>
            </a:pPr>
            <a:r>
              <a:rPr lang="en-US" sz="1500" dirty="0"/>
              <a:t>Jul 2013 - Jun 201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599-B54D-8D6A-88BF7FA99FF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599-B54D-8D6A-88BF7FA99FF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599-B54D-8D6A-88BF7FA99FF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599-B54D-8D6A-88BF7FA99FF8}"/>
              </c:ext>
            </c:extLst>
          </c:dPt>
          <c:cat>
            <c:strRef>
              <c:f>'Expenses Analysis'!$A$60:$A$63</c:f>
              <c:strCache>
                <c:ptCount val="4"/>
                <c:pt idx="0">
                  <c:v>Chemical Costs</c:v>
                </c:pt>
                <c:pt idx="1">
                  <c:v>Facility Costs</c:v>
                </c:pt>
                <c:pt idx="2">
                  <c:v>Operational Maintenance Costs</c:v>
                </c:pt>
                <c:pt idx="3">
                  <c:v>Labour Costs</c:v>
                </c:pt>
              </c:strCache>
            </c:strRef>
          </c:cat>
          <c:val>
            <c:numRef>
              <c:f>'Expenses Analysis'!$B$60:$B$63</c:f>
              <c:numCache>
                <c:formatCode>"$"#,##0.00;[Red]\-"$"#,##0.00</c:formatCode>
                <c:ptCount val="4"/>
                <c:pt idx="0">
                  <c:v>78413350.257664919</c:v>
                </c:pt>
                <c:pt idx="1">
                  <c:v>75132419.087942898</c:v>
                </c:pt>
                <c:pt idx="2">
                  <c:v>80392011.495678604</c:v>
                </c:pt>
                <c:pt idx="3">
                  <c:v>87328631.57081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599-B54D-8D6A-88BF7FA99F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5"/>
        <c:overlap val="-70"/>
        <c:axId val="2074341776"/>
        <c:axId val="2074343424"/>
      </c:barChart>
      <c:catAx>
        <c:axId val="20743417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Cost Cent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43424"/>
        <c:crosses val="autoZero"/>
        <c:auto val="1"/>
        <c:lblAlgn val="ctr"/>
        <c:lblOffset val="100"/>
        <c:noMultiLvlLbl val="0"/>
      </c:catAx>
      <c:valAx>
        <c:axId val="207434342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tx1">
                      <a:lumMod val="5000"/>
                      <a:lumOff val="95000"/>
                    </a:schemeClr>
                  </a:gs>
                  <a:gs pos="0">
                    <a:schemeClr val="tx1">
                      <a:lumMod val="25000"/>
                      <a:lumOff val="7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dirty="0"/>
                  <a:t>Expense (M$)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41776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b="1" dirty="0"/>
              <a:t>SOUTHERN WATER CORP COST CENTRES BY UNIT </a:t>
            </a:r>
          </a:p>
          <a:p>
            <a:pPr>
              <a:defRPr b="1"/>
            </a:pPr>
            <a:r>
              <a:rPr lang="en-US" sz="1500" b="1" dirty="0"/>
              <a:t>JUL 2013 - JUN 201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Expenses Analysis'!$A$68</c:f>
              <c:strCache>
                <c:ptCount val="1"/>
                <c:pt idx="0">
                  <c:v>Chemical Cos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Expenses Analysis'!$B$67:$D$67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xpenses Analysis'!$B$68:$D$68</c:f>
              <c:numCache>
                <c:formatCode>"$"#,##0.00</c:formatCode>
                <c:ptCount val="3"/>
                <c:pt idx="0">
                  <c:v>10125517.983652497</c:v>
                </c:pt>
                <c:pt idx="1">
                  <c:v>46326012.775156811</c:v>
                </c:pt>
                <c:pt idx="2">
                  <c:v>21961819.498855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F-7D4B-9C7F-0F3D76473D59}"/>
            </c:ext>
          </c:extLst>
        </c:ser>
        <c:ser>
          <c:idx val="1"/>
          <c:order val="1"/>
          <c:tx>
            <c:strRef>
              <c:f>'Expenses Analysis'!$A$69</c:f>
              <c:strCache>
                <c:ptCount val="1"/>
                <c:pt idx="0">
                  <c:v>Facility Cos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Expenses Analysis'!$B$67:$D$67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xpenses Analysis'!$B$69:$D$69</c:f>
              <c:numCache>
                <c:formatCode>"$"#,##0.00</c:formatCode>
                <c:ptCount val="3"/>
                <c:pt idx="0">
                  <c:v>11801303.011249995</c:v>
                </c:pt>
                <c:pt idx="1">
                  <c:v>42465511.710560411</c:v>
                </c:pt>
                <c:pt idx="2">
                  <c:v>20865604.366132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F-7D4B-9C7F-0F3D76473D59}"/>
            </c:ext>
          </c:extLst>
        </c:ser>
        <c:ser>
          <c:idx val="2"/>
          <c:order val="2"/>
          <c:tx>
            <c:strRef>
              <c:f>'Expenses Analysis'!$A$70</c:f>
              <c:strCache>
                <c:ptCount val="1"/>
                <c:pt idx="0">
                  <c:v>Operational Maintenance Cost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Expenses Analysis'!$B$67:$D$67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xpenses Analysis'!$B$70:$D$70</c:f>
              <c:numCache>
                <c:formatCode>"$"#,##0.00</c:formatCode>
                <c:ptCount val="3"/>
                <c:pt idx="0">
                  <c:v>13743574.812112492</c:v>
                </c:pt>
                <c:pt idx="1">
                  <c:v>48391205.36464861</c:v>
                </c:pt>
                <c:pt idx="2">
                  <c:v>18257231.318917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F-7D4B-9C7F-0F3D76473D59}"/>
            </c:ext>
          </c:extLst>
        </c:ser>
        <c:ser>
          <c:idx val="3"/>
          <c:order val="3"/>
          <c:tx>
            <c:strRef>
              <c:f>'Expenses Analysis'!$A$71</c:f>
              <c:strCache>
                <c:ptCount val="1"/>
                <c:pt idx="0">
                  <c:v>Labour Cos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Expenses Analysis'!$B$67:$D$67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xpenses Analysis'!$B$71:$D$71</c:f>
              <c:numCache>
                <c:formatCode>"$"#,##0.00</c:formatCode>
                <c:ptCount val="3"/>
                <c:pt idx="0">
                  <c:v>15553428.285312492</c:v>
                </c:pt>
                <c:pt idx="1">
                  <c:v>42136369.189600006</c:v>
                </c:pt>
                <c:pt idx="2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FF-7D4B-9C7F-0F3D76473D5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058316703"/>
        <c:axId val="1809627807"/>
      </c:barChart>
      <c:catAx>
        <c:axId val="20583167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09627807"/>
        <c:crosses val="autoZero"/>
        <c:auto val="1"/>
        <c:lblAlgn val="ctr"/>
        <c:lblOffset val="100"/>
        <c:noMultiLvlLbl val="0"/>
      </c:catAx>
      <c:valAx>
        <c:axId val="18096278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EXPENSE (M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8316703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dirty="0" err="1"/>
              <a:t>Kootha</a:t>
            </a:r>
            <a:r>
              <a:rPr lang="en-US" sz="1500" dirty="0"/>
              <a:t> Cost Element Analysis</a:t>
            </a:r>
          </a:p>
          <a:p>
            <a:pPr>
              <a:defRPr/>
            </a:pPr>
            <a:r>
              <a:rPr lang="en-US" sz="1500" dirty="0"/>
              <a:t>Jul 2013 - Jun 201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12-1A4C-B73B-AE2DABA9843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12-1A4C-B73B-AE2DABA9843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12-1A4C-B73B-AE2DABA9843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312-1A4C-B73B-AE2DABA98435}"/>
              </c:ext>
            </c:extLst>
          </c:dPt>
          <c:cat>
            <c:strRef>
              <c:f>'Expenses Analysis'!$D$15:$D$2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15:$R$22</c:f>
              <c:numCache>
                <c:formatCode>"$"#,##0.00;[Red]\-"$"#,##0.00</c:formatCode>
                <c:ptCount val="8"/>
                <c:pt idx="0">
                  <c:v>10125517.983652497</c:v>
                </c:pt>
                <c:pt idx="1">
                  <c:v>4720521.2044999981</c:v>
                </c:pt>
                <c:pt idx="2">
                  <c:v>7080781.8067499967</c:v>
                </c:pt>
                <c:pt idx="3">
                  <c:v>4863981.2092249971</c:v>
                </c:pt>
                <c:pt idx="4">
                  <c:v>3054127.7360249986</c:v>
                </c:pt>
                <c:pt idx="5">
                  <c:v>3450033.1832874976</c:v>
                </c:pt>
                <c:pt idx="6">
                  <c:v>2375432.6835749988</c:v>
                </c:pt>
                <c:pt idx="7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312-1A4C-B73B-AE2DABA984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5"/>
        <c:overlap val="-70"/>
        <c:axId val="2074341776"/>
        <c:axId val="2074343424"/>
      </c:barChart>
      <c:catAx>
        <c:axId val="20743417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Cost Eleme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43424"/>
        <c:crosses val="autoZero"/>
        <c:auto val="1"/>
        <c:lblAlgn val="ctr"/>
        <c:lblOffset val="100"/>
        <c:noMultiLvlLbl val="0"/>
      </c:catAx>
      <c:valAx>
        <c:axId val="207434342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tx1">
                      <a:lumMod val="5000"/>
                      <a:lumOff val="95000"/>
                    </a:schemeClr>
                  </a:gs>
                  <a:gs pos="0">
                    <a:schemeClr val="tx1">
                      <a:lumMod val="25000"/>
                      <a:lumOff val="7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dirty="0"/>
                  <a:t>Expense (M$)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41776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dirty="0" err="1"/>
              <a:t>Surjek</a:t>
            </a:r>
            <a:r>
              <a:rPr lang="en-US" sz="1500" dirty="0"/>
              <a:t> Cost Centre Analysis</a:t>
            </a:r>
          </a:p>
          <a:p>
            <a:pPr>
              <a:defRPr/>
            </a:pPr>
            <a:r>
              <a:rPr lang="en-US" sz="1500" dirty="0"/>
              <a:t>Jul 2013 - Jun 201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FC6-674F-B4D0-6084BDE499B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FC6-674F-B4D0-6084BDE499B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FC6-674F-B4D0-6084BDE499B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FC6-674F-B4D0-6084BDE499B0}"/>
              </c:ext>
            </c:extLst>
          </c:dPt>
          <c:cat>
            <c:strRef>
              <c:f>'Expenses Analysis'!$D$25:$D$3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25:$R$32</c:f>
              <c:numCache>
                <c:formatCode>"$"#,##0.00;[Red]\-"$"#,##0.00</c:formatCode>
                <c:ptCount val="8"/>
                <c:pt idx="0">
                  <c:v>46326012.775156811</c:v>
                </c:pt>
                <c:pt idx="1">
                  <c:v>23163006.387578405</c:v>
                </c:pt>
                <c:pt idx="2">
                  <c:v>19302505.322982002</c:v>
                </c:pt>
                <c:pt idx="3">
                  <c:v>18221565.024895009</c:v>
                </c:pt>
                <c:pt idx="4">
                  <c:v>11461092.4195712</c:v>
                </c:pt>
                <c:pt idx="5">
                  <c:v>12135274.3266048</c:v>
                </c:pt>
                <c:pt idx="6">
                  <c:v>6573273.5935776001</c:v>
                </c:pt>
                <c:pt idx="7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FC6-674F-B4D0-6084BDE499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5"/>
        <c:overlap val="-70"/>
        <c:axId val="2074341776"/>
        <c:axId val="2074343424"/>
      </c:barChart>
      <c:catAx>
        <c:axId val="20743417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Cost Eleme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43424"/>
        <c:crosses val="autoZero"/>
        <c:auto val="1"/>
        <c:lblAlgn val="ctr"/>
        <c:lblOffset val="100"/>
        <c:noMultiLvlLbl val="0"/>
      </c:catAx>
      <c:valAx>
        <c:axId val="207434342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tx1">
                      <a:lumMod val="5000"/>
                      <a:lumOff val="95000"/>
                    </a:schemeClr>
                  </a:gs>
                  <a:gs pos="0">
                    <a:schemeClr val="tx1">
                      <a:lumMod val="25000"/>
                      <a:lumOff val="7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dirty="0"/>
                  <a:t>Expense (M$)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41776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dirty="0" err="1"/>
              <a:t>Jutik</a:t>
            </a:r>
            <a:r>
              <a:rPr lang="en-US" sz="1500" dirty="0"/>
              <a:t> Cost Centre Analysis</a:t>
            </a:r>
          </a:p>
          <a:p>
            <a:pPr>
              <a:defRPr/>
            </a:pPr>
            <a:r>
              <a:rPr lang="en-US" sz="1500" dirty="0"/>
              <a:t>Jul 2013 - Jun 201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53-CA49-A4B5-4F034660C48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53-CA49-A4B5-4F034660C48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53-CA49-A4B5-4F034660C48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953-CA49-A4B5-4F034660C480}"/>
              </c:ext>
            </c:extLst>
          </c:dPt>
          <c:dLbls>
            <c:delete val="1"/>
          </c:dLbls>
          <c:cat>
            <c:strRef>
              <c:f>'Expenses Analysis'!$D$35:$D$42</c:f>
              <c:strCache>
                <c:ptCount val="8"/>
                <c:pt idx="0">
                  <c:v>Chem-Exp (001)</c:v>
                </c:pt>
                <c:pt idx="1">
                  <c:v>Utility-Exp (002) - Heating</c:v>
                </c:pt>
                <c:pt idx="2">
                  <c:v>Utility-Exp (002) - Electricity</c:v>
                </c:pt>
                <c:pt idx="3">
                  <c:v>Plant Maintenance (001)</c:v>
                </c:pt>
                <c:pt idx="4">
                  <c:v>Plant Outages (002)</c:v>
                </c:pt>
                <c:pt idx="5">
                  <c:v>Plant Op. Costs (003)</c:v>
                </c:pt>
                <c:pt idx="6">
                  <c:v>Plant Admin Costs (004)</c:v>
                </c:pt>
                <c:pt idx="7">
                  <c:v>Labour-Costs (001)</c:v>
                </c:pt>
              </c:strCache>
            </c:strRef>
          </c:cat>
          <c:val>
            <c:numRef>
              <c:f>'Expenses Analysis'!$R$35:$R$42</c:f>
              <c:numCache>
                <c:formatCode>"$"#,##0.00;[Red]\-"$"#,##0.00</c:formatCode>
                <c:ptCount val="8"/>
                <c:pt idx="0">
                  <c:v>21961819.498855624</c:v>
                </c:pt>
                <c:pt idx="1">
                  <c:v>10834063.805491872</c:v>
                </c:pt>
                <c:pt idx="2">
                  <c:v>10031540.560640626</c:v>
                </c:pt>
                <c:pt idx="3">
                  <c:v>8667251.0443934985</c:v>
                </c:pt>
                <c:pt idx="4">
                  <c:v>2219902.8413250004</c:v>
                </c:pt>
                <c:pt idx="5">
                  <c:v>5505359.0464859996</c:v>
                </c:pt>
                <c:pt idx="6">
                  <c:v>1864718.386713</c:v>
                </c:pt>
                <c:pt idx="7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953-CA49-A4B5-4F034660C48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55"/>
        <c:overlap val="-70"/>
        <c:axId val="2074341776"/>
        <c:axId val="2074343424"/>
      </c:barChart>
      <c:catAx>
        <c:axId val="20743417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Cost Eleme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43424"/>
        <c:crosses val="autoZero"/>
        <c:auto val="1"/>
        <c:lblAlgn val="ctr"/>
        <c:lblOffset val="100"/>
        <c:tickMarkSkip val="1"/>
        <c:noMultiLvlLbl val="0"/>
      </c:catAx>
      <c:valAx>
        <c:axId val="207434342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tx1">
                      <a:lumMod val="5000"/>
                      <a:lumOff val="95000"/>
                    </a:schemeClr>
                  </a:gs>
                  <a:gs pos="0">
                    <a:schemeClr val="tx1">
                      <a:lumMod val="25000"/>
                      <a:lumOff val="7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dirty="0"/>
                  <a:t>Expense (M$)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4341776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3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38100" cap="flat" cmpd="dbl" algn="ctr">
        <a:solidFill>
          <a:schemeClr val="phClr"/>
        </a:solidFill>
        <a:miter lim="800000"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  <a:alpha val="32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5000"/>
            <a:lumOff val="95000"/>
            <a:alpha val="32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/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2700" cap="rnd"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07-12T15:32:18.643" idx="1">
    <p:pos x="10" y="10"/>
    <p:text>I don't see a time series chart.  How do I know December has a higher cost?</p:text>
    <p:extLst>
      <p:ext uri="{C676402C-5697-4E1C-873F-D02D1690AC5C}">
        <p15:threadingInfo xmlns:p15="http://schemas.microsoft.com/office/powerpoint/2012/main" timeZoneBias="30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2/07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Segmentation of the revenues by unit reveals that of the three customer segments, Private Water Sales ($187M) are the most popular, followed by Public Sales ($146M) and lastly Residential Sales ($102M)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807127B-B0E0-8E36-69F0-B8B6AD7AED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1968265"/>
              </p:ext>
            </p:extLst>
          </p:nvPr>
        </p:nvGraphicFramePr>
        <p:xfrm>
          <a:off x="261144" y="841737"/>
          <a:ext cx="8439149" cy="5694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Of the ($436M)¹ in Revenue Sales over the July-2013 to June-2014 Period, </a:t>
            </a:r>
            <a:r>
              <a:rPr lang="en-GB" sz="1400" b="1" dirty="0" err="1"/>
              <a:t>Surjek</a:t>
            </a:r>
            <a:r>
              <a:rPr lang="en-GB" sz="1400" b="1" dirty="0"/>
              <a:t> provides close to 50% of Sales Volumes ($202M), with </a:t>
            </a:r>
            <a:r>
              <a:rPr lang="en-GB" sz="1400" b="1" dirty="0" err="1"/>
              <a:t>Jutik</a:t>
            </a:r>
            <a:r>
              <a:rPr lang="en-GB" sz="1400" b="1" dirty="0"/>
              <a:t> ($163M) and </a:t>
            </a:r>
            <a:r>
              <a:rPr lang="en-GB" sz="1400" b="1" dirty="0" err="1"/>
              <a:t>Kootha</a:t>
            </a:r>
            <a:r>
              <a:rPr lang="en-GB" sz="1400" b="1" dirty="0"/>
              <a:t> ($71M) providing the remaining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5D18292-FE24-4CB2-87CD-299583278E20}"/>
              </a:ext>
            </a:extLst>
          </p:cNvPr>
          <p:cNvSpPr txBox="1"/>
          <p:nvPr/>
        </p:nvSpPr>
        <p:spPr>
          <a:xfrm>
            <a:off x="171451" y="6440271"/>
            <a:ext cx="8512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b="1" dirty="0"/>
              <a:t>Note: This refers to the Total Sales for all 3 Units (Kootha, Surjek and Jutik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18BE257-1AB4-E96B-E60A-3961C4C04F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8980553"/>
              </p:ext>
            </p:extLst>
          </p:nvPr>
        </p:nvGraphicFramePr>
        <p:xfrm>
          <a:off x="5718048" y="921781"/>
          <a:ext cx="3243390" cy="5518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9702403-3B4B-9845-9B28-85FE801E15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6253848"/>
              </p:ext>
            </p:extLst>
          </p:nvPr>
        </p:nvGraphicFramePr>
        <p:xfrm>
          <a:off x="83250" y="921790"/>
          <a:ext cx="2861500" cy="5518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E31141D-EC28-224B-8313-F4DA70EBF83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1361262"/>
              </p:ext>
            </p:extLst>
          </p:nvPr>
        </p:nvGraphicFramePr>
        <p:xfrm>
          <a:off x="2776919" y="921778"/>
          <a:ext cx="3108960" cy="5490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Targeted Expense Analysis reveals an interesting trend; Overall Costs sharply increase from December, with </a:t>
            </a:r>
            <a:r>
              <a:rPr lang="en-GB" sz="1400" b="1" dirty="0" err="1"/>
              <a:t>Surjek</a:t>
            </a:r>
            <a:r>
              <a:rPr lang="en-GB" sz="1400" b="1" dirty="0"/>
              <a:t> contributing $179M (56%) towards the overall cost-bas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AE2AD3F-1566-3F83-B56F-19A4BBBAFB6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8642163"/>
              </p:ext>
            </p:extLst>
          </p:nvPr>
        </p:nvGraphicFramePr>
        <p:xfrm>
          <a:off x="102267" y="4076373"/>
          <a:ext cx="8756904" cy="2645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3AEE944-B83A-16B3-DA6E-E0D9126133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1437687"/>
              </p:ext>
            </p:extLst>
          </p:nvPr>
        </p:nvGraphicFramePr>
        <p:xfrm>
          <a:off x="-19305" y="782291"/>
          <a:ext cx="8928355" cy="2929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 dirty="0"/>
              <a:t>Further analysis singles-out </a:t>
            </a:r>
            <a:r>
              <a:rPr lang="en-GB" sz="1400" b="1" dirty="0" err="1"/>
              <a:t>Surjek</a:t>
            </a:r>
            <a:r>
              <a:rPr lang="en-GB" sz="1400" b="1" dirty="0"/>
              <a:t> with 179M (56%) worth of expenses, contrasted to a much lower spend from </a:t>
            </a:r>
            <a:r>
              <a:rPr lang="en-GB" sz="1400" b="1" dirty="0" err="1"/>
              <a:t>Kootha</a:t>
            </a:r>
            <a:r>
              <a:rPr lang="en-GB" sz="1400" b="1" dirty="0"/>
              <a:t> ($51 M) and </a:t>
            </a:r>
            <a:r>
              <a:rPr lang="en-GB" sz="1400" b="1" dirty="0" err="1"/>
              <a:t>Jutik</a:t>
            </a:r>
            <a:r>
              <a:rPr lang="en-GB" sz="1400" b="1" dirty="0"/>
              <a:t> ($90M), largely due to lower Chemical and Labour Expenditur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8C44076-4BA0-2542-B604-A0BC960BD8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4214633"/>
              </p:ext>
            </p:extLst>
          </p:nvPr>
        </p:nvGraphicFramePr>
        <p:xfrm>
          <a:off x="4480719" y="841737"/>
          <a:ext cx="4480719" cy="2790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538F813-7225-8742-8A2F-F81D82C99D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3425075"/>
              </p:ext>
            </p:extLst>
          </p:nvPr>
        </p:nvGraphicFramePr>
        <p:xfrm>
          <a:off x="52388" y="841736"/>
          <a:ext cx="4199645" cy="5363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7ED28C3-035F-0D43-9F54-C170F7F1B9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662254"/>
              </p:ext>
            </p:extLst>
          </p:nvPr>
        </p:nvGraphicFramePr>
        <p:xfrm>
          <a:off x="4391025" y="3629593"/>
          <a:ext cx="4518025" cy="2925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 dirty="0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dirty="0" err="1"/>
              <a:t>Surjek</a:t>
            </a:r>
            <a:r>
              <a:rPr lang="en-GB" sz="1400" b="1" dirty="0"/>
              <a:t> Unit which coincidentally has the highest rate of water production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F674A81-B874-2C47-A684-1D9218B0ED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2317438"/>
              </p:ext>
            </p:extLst>
          </p:nvPr>
        </p:nvGraphicFramePr>
        <p:xfrm>
          <a:off x="1" y="994685"/>
          <a:ext cx="4330700" cy="5541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7A28EDC-1912-DB45-96FB-B1A2E06F61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676749"/>
              </p:ext>
            </p:extLst>
          </p:nvPr>
        </p:nvGraphicFramePr>
        <p:xfrm>
          <a:off x="4630739" y="913078"/>
          <a:ext cx="4090986" cy="2686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232D114-250F-DE49-AF68-8B7DC30B4B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5159075"/>
              </p:ext>
            </p:extLst>
          </p:nvPr>
        </p:nvGraphicFramePr>
        <p:xfrm>
          <a:off x="4630737" y="3680922"/>
          <a:ext cx="4330700" cy="285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 dirty="0"/>
              <a:t>Concluding our analysis, </a:t>
            </a:r>
            <a:r>
              <a:rPr lang="en-AU" sz="1350" b="1" dirty="0" err="1"/>
              <a:t>Jutik</a:t>
            </a:r>
            <a:r>
              <a:rPr lang="en-AU" sz="1350" b="1" dirty="0"/>
              <a:t> has the highest overall EBIT contributions ($73M), followed by </a:t>
            </a:r>
            <a:r>
              <a:rPr lang="en-AU" sz="1350" b="1" dirty="0" err="1"/>
              <a:t>Surjek</a:t>
            </a:r>
            <a:r>
              <a:rPr lang="en-AU" sz="1350" b="1" dirty="0"/>
              <a:t> ($23M) , and lastly </a:t>
            </a:r>
            <a:r>
              <a:rPr lang="en-AU" sz="1350" b="1" dirty="0" err="1"/>
              <a:t>Kootha</a:t>
            </a:r>
            <a:r>
              <a:rPr lang="en-AU" sz="1350" b="1" dirty="0"/>
              <a:t> ($19M). However, from an EBIT  Margin (%) perspective, Kootha has a higher margin than that of </a:t>
            </a:r>
            <a:r>
              <a:rPr lang="en-AU" sz="1350" b="1" dirty="0" err="1"/>
              <a:t>Surjek</a:t>
            </a:r>
            <a:r>
              <a:rPr lang="en-AU" sz="1350" b="1" dirty="0"/>
              <a:t>, indicative of a lower revenue-to-expense ratio.¹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EFAD5F-5947-4F50-9D03-73E482BF7380}"/>
              </a:ext>
            </a:extLst>
          </p:cNvPr>
          <p:cNvSpPr txBox="1"/>
          <p:nvPr/>
        </p:nvSpPr>
        <p:spPr>
          <a:xfrm>
            <a:off x="134995" y="6351664"/>
            <a:ext cx="8512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b="1" dirty="0"/>
              <a:t>Note:¹ We can clearly see for Surjek over the October, November and May Periods – expenses were far higher than revenues which contributed to this lower revenue-to-expense ratio.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2E08D67-007F-639C-BA46-1151791391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8465015"/>
              </p:ext>
            </p:extLst>
          </p:nvPr>
        </p:nvGraphicFramePr>
        <p:xfrm>
          <a:off x="-105418" y="3151635"/>
          <a:ext cx="8909049" cy="3335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35B6756-2011-3405-6A0B-575E56DFC9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5800386"/>
              </p:ext>
            </p:extLst>
          </p:nvPr>
        </p:nvGraphicFramePr>
        <p:xfrm>
          <a:off x="0" y="1048240"/>
          <a:ext cx="8909050" cy="2103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04</TotalTime>
  <Words>521</Words>
  <Application>Microsoft Office PowerPoint</Application>
  <PresentationFormat>Custom</PresentationFormat>
  <Paragraphs>60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1_Synergy_CF_YNR013</vt:lpstr>
      <vt:lpstr>think-cell Slide</vt:lpstr>
      <vt:lpstr>Segmentation of the revenues by unit reveals that of the three customer segments, Private Water Sales ($187M) are the most popular, followed by Public Sales ($146M) and lastly Residential Sales ($102M). </vt:lpstr>
      <vt:lpstr>Of the ($436M)¹ in Revenue Sales over the July-2013 to June-2014 Period, Surjek provides close to 50% of Sales Volumes ($202M), with Jutik ($163M) and Kootha ($71M) providing the remaining.</vt:lpstr>
      <vt:lpstr>Targeted Expense Analysis reveals an interesting trend; Overall Costs sharply increase from December, with Surjek contributing $179M (56%) towards the overall cost-base. </vt:lpstr>
      <vt:lpstr>Further analysis singles-out Surjek with 179M (56%) worth of expenses, contrasted to a much lower spend from Kootha ($51 M) and Jutik ($90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3M), followed by Surjek ($23M) , and lastly Kootha ($19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Cary Heidesch</cp:lastModifiedBy>
  <cp:revision>68</cp:revision>
  <dcterms:created xsi:type="dcterms:W3CDTF">2020-04-12T13:23:13Z</dcterms:created>
  <dcterms:modified xsi:type="dcterms:W3CDTF">2022-07-12T20:32:58Z</dcterms:modified>
</cp:coreProperties>
</file>